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4"/>
  </p:sldMasterIdLst>
  <p:notesMasterIdLst>
    <p:notesMasterId r:id="rId21"/>
  </p:notesMasterIdLst>
  <p:sldIdLst>
    <p:sldId id="3716" r:id="rId5"/>
    <p:sldId id="3727" r:id="rId6"/>
    <p:sldId id="3715" r:id="rId7"/>
    <p:sldId id="3729" r:id="rId8"/>
    <p:sldId id="3735" r:id="rId9"/>
    <p:sldId id="3745" r:id="rId10"/>
    <p:sldId id="3732" r:id="rId11"/>
    <p:sldId id="3731" r:id="rId12"/>
    <p:sldId id="3733" r:id="rId13"/>
    <p:sldId id="3734" r:id="rId14"/>
    <p:sldId id="3746" r:id="rId15"/>
    <p:sldId id="3737" r:id="rId16"/>
    <p:sldId id="3740" r:id="rId17"/>
    <p:sldId id="3741" r:id="rId18"/>
    <p:sldId id="3743" r:id="rId19"/>
    <p:sldId id="374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F4B759-C97F-E71B-1A1E-D6ABECA48BE7}" name="Drake, Kristin R., Neurology" initials="DKRN" userId="S::krdrake@mgh.harvard.edu::931da243-0c84-4025-b988-5ffee976d3d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D1A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22" autoAdjust="0"/>
    <p:restoredTop sz="89796" autoAdjust="0"/>
  </p:normalViewPr>
  <p:slideViewPr>
    <p:cSldViewPr snapToGrid="0">
      <p:cViewPr>
        <p:scale>
          <a:sx n="101" d="100"/>
          <a:sy n="101" d="100"/>
        </p:scale>
        <p:origin x="1000" y="480"/>
      </p:cViewPr>
      <p:guideLst/>
    </p:cSldViewPr>
  </p:slid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100" d="100"/>
        <a:sy n="100" d="100"/>
      </p:scale>
      <p:origin x="0" y="-246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8ED865-1E22-4442-9E43-81AB871BC930}" type="datetimeFigureOut">
              <a:rPr lang="en-US" smtClean="0"/>
              <a:t>1/21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D228F8-17BB-47D3-A639-3EEF216EF8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611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D228F8-17BB-47D3-A639-3EEF216EF8E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4023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0799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457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6070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05507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381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D228F8-17BB-47D3-A639-3EEF216EF8E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01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6390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816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1462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1125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64439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1331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A4B4F0-EDB8-42B9-9DF4-99AF0934C2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490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898CF07-1BDE-FF2E-C71F-D6A656A7AA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9077" y="933205"/>
            <a:ext cx="5625998" cy="63487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863119B-0F78-1BE2-BC9C-A209FE82F1EC}"/>
              </a:ext>
            </a:extLst>
          </p:cNvPr>
          <p:cNvSpPr txBox="1"/>
          <p:nvPr userDrawn="1"/>
        </p:nvSpPr>
        <p:spPr>
          <a:xfrm>
            <a:off x="6829425" y="1289632"/>
            <a:ext cx="38908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3A93"/>
                </a:solidFill>
              </a:rPr>
              <a:t>Neurological Clinical Research Institute</a:t>
            </a:r>
          </a:p>
        </p:txBody>
      </p:sp>
    </p:spTree>
    <p:extLst>
      <p:ext uri="{BB962C8B-B14F-4D97-AF65-F5344CB8AC3E}">
        <p14:creationId xmlns:p14="http://schemas.microsoft.com/office/powerpoint/2010/main" val="18600460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948652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423969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4158787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356B7-52C2-D4FE-6255-570BFB3B9B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9731" y="6084081"/>
            <a:ext cx="2833978" cy="710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2404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209187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0A6A38-E17B-F0F3-7B70-9DA4A9340A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44901" y="2880667"/>
            <a:ext cx="5625998" cy="63487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2717C8-96A6-BCFD-86BF-10101BA7B26B}"/>
              </a:ext>
            </a:extLst>
          </p:cNvPr>
          <p:cNvSpPr txBox="1"/>
          <p:nvPr userDrawn="1"/>
        </p:nvSpPr>
        <p:spPr>
          <a:xfrm>
            <a:off x="4057397" y="4907308"/>
            <a:ext cx="43168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003A93"/>
                </a:solidFill>
              </a:rPr>
              <a:t>Neurological Clinical Research Institute</a:t>
            </a:r>
          </a:p>
        </p:txBody>
      </p:sp>
      <p:pic>
        <p:nvPicPr>
          <p:cNvPr id="4" name="Picture 3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FDF5DE17-D5C5-AD18-91EE-F0FAEB5D9D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05668" y="3538092"/>
            <a:ext cx="5380664" cy="134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931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light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58832C-E11E-FF96-FE7E-E47F98E82C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9731" y="6084081"/>
            <a:ext cx="2833978" cy="710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68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3A93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1/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ct val="100000"/>
              </a:lnSpc>
              <a:spcBef>
                <a:spcPts val="50"/>
              </a:spcBef>
            </a:pPr>
            <a:fld id="{81D60167-4931-47E6-BA6A-407CBD079E47}" type="slidenum">
              <a:rPr dirty="0"/>
              <a:t>‹#›</a:t>
            </a:fld>
            <a:endParaRPr/>
          </a:p>
        </p:txBody>
      </p:sp>
      <p:pic>
        <p:nvPicPr>
          <p:cNvPr id="7" name="Picture 6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170B4CF4-0815-70B6-98B1-F8BA926D61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1350" y="5981113"/>
            <a:ext cx="3200808" cy="801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42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/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Agenda or 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tabLst>
                <a:tab pos="5486400" algn="r"/>
                <a:tab pos="9601200" algn="r"/>
              </a:tabLst>
              <a:defRPr sz="2000">
                <a:solidFill>
                  <a:schemeClr val="tx1"/>
                </a:solidFill>
              </a:defRPr>
            </a:lvl1pPr>
            <a:lvl2pPr>
              <a:tabLst>
                <a:tab pos="5486400" algn="r"/>
                <a:tab pos="9601200" algn="r"/>
              </a:tabLst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88C7A84-7FBC-8B48-92A9-207D8EDCD9B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00" y="6279614"/>
            <a:ext cx="6400800" cy="302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1000" baseline="0" dirty="0" smtClean="0"/>
            </a:lvl1pPr>
          </a:lstStyle>
          <a:p>
            <a:pPr lvl="0" algn="r"/>
            <a:r>
              <a:rPr lang="en-US"/>
              <a:t>Click to add footno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D1D4E6-50FB-F3AC-5CF5-14AAD56632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9731" y="6084081"/>
            <a:ext cx="2833978" cy="710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819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">
          <p15:clr>
            <a:srgbClr val="FBAE40"/>
          </p15:clr>
        </p15:guide>
        <p15:guide id="2" pos="576">
          <p15:clr>
            <a:srgbClr val="FBAE40"/>
          </p15:clr>
        </p15:guide>
        <p15:guide id="3" pos="6912">
          <p15:clr>
            <a:srgbClr val="FBAE40"/>
          </p15:clr>
        </p15:guide>
        <p15:guide id="4" orient="horz" pos="952">
          <p15:clr>
            <a:srgbClr val="FBAE40"/>
          </p15:clr>
        </p15:guide>
        <p15:guide id="5" orient="horz" pos="3754">
          <p15:clr>
            <a:srgbClr val="FBAE40"/>
          </p15:clr>
        </p15:guide>
        <p15:guide id="6" orient="horz" pos="412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428274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309980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489786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139422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29903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136213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3146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43311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0" imgH="531" progId="TCLayout.ActiveDocument.1">
                  <p:embed/>
                </p:oleObj>
              </mc:Choice>
              <mc:Fallback>
                <p:oleObj name="think-cell Slide" r:id="rId22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68822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9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3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3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33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image" Target="../media/image34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36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image" Target="../media/image37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image" Target="../media/image38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g"/><Relationship Id="rId7" Type="http://schemas.openxmlformats.org/officeDocument/2006/relationships/image" Target="../media/image1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jpeg"/><Relationship Id="rId5" Type="http://schemas.openxmlformats.org/officeDocument/2006/relationships/image" Target="../media/image12.tiff"/><Relationship Id="rId4" Type="http://schemas.openxmlformats.org/officeDocument/2006/relationships/image" Target="../media/image11.png"/><Relationship Id="rId9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25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2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B12AB-E2A0-4D86-9E91-61D29807A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519" y="-122065"/>
            <a:ext cx="11926957" cy="1732722"/>
          </a:xfrm>
        </p:spPr>
        <p:txBody>
          <a:bodyPr/>
          <a:lstStyle/>
          <a:p>
            <a:pPr algn="ctr"/>
            <a:r>
              <a:rPr lang="en-US" sz="4000" b="1" dirty="0"/>
              <a:t>PLS | International collaborations </a:t>
            </a:r>
            <a:br>
              <a:rPr lang="en-US" sz="4000" b="1" dirty="0"/>
            </a:br>
            <a:r>
              <a:rPr lang="en-US" sz="4000" b="1" dirty="0"/>
              <a:t>over the last year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AC95C6-2FE5-20A0-FABA-5EBDAF9B54DA}"/>
              </a:ext>
            </a:extLst>
          </p:cNvPr>
          <p:cNvSpPr txBox="1">
            <a:spLocks/>
          </p:cNvSpPr>
          <p:nvPr/>
        </p:nvSpPr>
        <p:spPr>
          <a:xfrm>
            <a:off x="132519" y="1895076"/>
            <a:ext cx="11926957" cy="1732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3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0367DC-E5A4-6DEC-6255-3BCF593C6018}"/>
              </a:ext>
            </a:extLst>
          </p:cNvPr>
          <p:cNvSpPr txBox="1"/>
          <p:nvPr/>
        </p:nvSpPr>
        <p:spPr>
          <a:xfrm>
            <a:off x="2191654" y="1705463"/>
            <a:ext cx="7808686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b="1" i="0" dirty="0">
                <a:solidFill>
                  <a:srgbClr val="2F549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rica Scirocco, MD </a:t>
            </a:r>
            <a:r>
              <a:rPr lang="en-US" sz="2400" b="0" i="0" dirty="0">
                <a:solidFill>
                  <a:srgbClr val="2F549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| Post Doctoral Research Fellow</a:t>
            </a:r>
            <a:endParaRPr lang="en-US" sz="2000" b="0" i="0" dirty="0">
              <a:solidFill>
                <a:srgbClr val="2424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600" b="1" i="0" dirty="0">
                <a:solidFill>
                  <a:srgbClr val="2F549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an M. Healey &amp; AMG Center for ALS</a:t>
            </a:r>
            <a:endParaRPr lang="en-US" sz="2000" b="0" i="0" dirty="0">
              <a:solidFill>
                <a:srgbClr val="2424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600" b="1" i="0" dirty="0">
                <a:solidFill>
                  <a:srgbClr val="2F549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eurological Clinical Research Institute</a:t>
            </a:r>
            <a:endParaRPr lang="en-US" sz="2000" b="0" i="0" dirty="0">
              <a:solidFill>
                <a:srgbClr val="2424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600" b="0" i="0" dirty="0">
                <a:solidFill>
                  <a:srgbClr val="44546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ssachusetts General Hospital (MGH)</a:t>
            </a:r>
            <a:endParaRPr lang="en-US" sz="2000" b="0" i="0" dirty="0">
              <a:solidFill>
                <a:srgbClr val="2424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600" b="0" i="0" dirty="0">
                <a:solidFill>
                  <a:srgbClr val="44546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rvard Medical School (HMS)</a:t>
            </a:r>
            <a:endParaRPr lang="en-US" sz="2000" b="0" i="0" dirty="0">
              <a:solidFill>
                <a:srgbClr val="2424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 person with long hair smiling&#10;&#10;Description automatically generated">
            <a:extLst>
              <a:ext uri="{FF2B5EF4-FFF2-40B4-BE49-F238E27FC236}">
                <a16:creationId xmlns:a16="http://schemas.microsoft.com/office/drawing/2014/main" id="{6C1AB7EC-0106-0523-6CBD-3A1F75880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8964" y="1031033"/>
            <a:ext cx="1598645" cy="23979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 descr="A poster for a medical research institute&#10;&#10;Description automatically generated">
            <a:extLst>
              <a:ext uri="{FF2B5EF4-FFF2-40B4-BE49-F238E27FC236}">
                <a16:creationId xmlns:a16="http://schemas.microsoft.com/office/drawing/2014/main" id="{C0CCA504-D2F3-196D-9EA2-0F8FE2BA11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78"/>
          <a:stretch/>
        </p:blipFill>
        <p:spPr>
          <a:xfrm>
            <a:off x="2191654" y="3709512"/>
            <a:ext cx="7772400" cy="22953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86927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FD0A04-4D5E-5A06-D79F-3C83AFF371CC}"/>
              </a:ext>
            </a:extLst>
          </p:cNvPr>
          <p:cNvSpPr txBox="1"/>
          <p:nvPr/>
        </p:nvSpPr>
        <p:spPr>
          <a:xfrm>
            <a:off x="668394" y="1422789"/>
            <a:ext cx="6178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PLS Research Summary</a:t>
            </a:r>
            <a:endParaRPr lang="en-US" sz="2400" b="1" dirty="0"/>
          </a:p>
        </p:txBody>
      </p:sp>
      <p:pic>
        <p:nvPicPr>
          <p:cNvPr id="3" name="Picture 2" descr="A poster with a person and a diagram&#10;&#10;Description automatically generated with medium confidence">
            <a:extLst>
              <a:ext uri="{FF2B5EF4-FFF2-40B4-BE49-F238E27FC236}">
                <a16:creationId xmlns:a16="http://schemas.microsoft.com/office/drawing/2014/main" id="{64C1840C-59C0-7751-B87A-22CBC075451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" t="50068" r="2231" b="1769"/>
          <a:stretch/>
        </p:blipFill>
        <p:spPr>
          <a:xfrm>
            <a:off x="194102" y="1964803"/>
            <a:ext cx="6802823" cy="3822539"/>
          </a:xfrm>
          <a:prstGeom prst="rect">
            <a:avLst/>
          </a:prstGeom>
        </p:spPr>
      </p:pic>
      <p:pic>
        <p:nvPicPr>
          <p:cNvPr id="9" name="Picture 8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BDA43A2D-6531-FD4E-4DC7-30679C1590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5023" y="671220"/>
            <a:ext cx="4419654" cy="441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1607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FD0A04-4D5E-5A06-D79F-3C83AFF371CC}"/>
              </a:ext>
            </a:extLst>
          </p:cNvPr>
          <p:cNvSpPr txBox="1"/>
          <p:nvPr/>
        </p:nvSpPr>
        <p:spPr>
          <a:xfrm>
            <a:off x="668394" y="1422789"/>
            <a:ext cx="6178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PLS Research Summary</a:t>
            </a:r>
            <a:endParaRPr lang="en-US" sz="2400" b="1" dirty="0"/>
          </a:p>
        </p:txBody>
      </p:sp>
      <p:pic>
        <p:nvPicPr>
          <p:cNvPr id="9" name="Picture 8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BDA43A2D-6531-FD4E-4DC7-30679C1590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1799" y="2188115"/>
            <a:ext cx="2571447" cy="2571447"/>
          </a:xfrm>
          <a:prstGeom prst="rect">
            <a:avLst/>
          </a:prstGeom>
        </p:spPr>
      </p:pic>
      <p:pic>
        <p:nvPicPr>
          <p:cNvPr id="5" name="Picture 4" descr="A diagram of a medical research&#10;&#10;Description automatically generated">
            <a:extLst>
              <a:ext uri="{FF2B5EF4-FFF2-40B4-BE49-F238E27FC236}">
                <a16:creationId xmlns:a16="http://schemas.microsoft.com/office/drawing/2014/main" id="{DF36BAA4-55F7-AA2B-FCB7-4DB8DC5F7E3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3"/>
          <a:stretch/>
        </p:blipFill>
        <p:spPr>
          <a:xfrm>
            <a:off x="4745620" y="80372"/>
            <a:ext cx="7245753" cy="6697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5272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pic>
        <p:nvPicPr>
          <p:cNvPr id="8" name="Picture 7" descr="A schedule of a medical procedure&#10;&#10;Description automatically generated with medium confidence">
            <a:extLst>
              <a:ext uri="{FF2B5EF4-FFF2-40B4-BE49-F238E27FC236}">
                <a16:creationId xmlns:a16="http://schemas.microsoft.com/office/drawing/2014/main" id="{AC3C54B0-3375-1864-CDA4-D3BBD584D2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643" y="5310"/>
            <a:ext cx="5197668" cy="68526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160343F-B731-2F29-2549-82D4CDF8C871}"/>
              </a:ext>
            </a:extLst>
          </p:cNvPr>
          <p:cNvSpPr txBox="1"/>
          <p:nvPr/>
        </p:nvSpPr>
        <p:spPr>
          <a:xfrm>
            <a:off x="689114" y="1145962"/>
            <a:ext cx="617821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December, San Diego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everal scientists gathered to share updates on PLS research!</a:t>
            </a: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first PLS-dedicated session included in the main program of the 36th International Symposium on ALS/MND, reflecting growing recognition of PLS within the ALS/MND research field</a:t>
            </a:r>
          </a:p>
        </p:txBody>
      </p:sp>
    </p:spTree>
    <p:extLst>
      <p:ext uri="{BB962C8B-B14F-4D97-AF65-F5344CB8AC3E}">
        <p14:creationId xmlns:p14="http://schemas.microsoft.com/office/powerpoint/2010/main" val="22091395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pic>
        <p:nvPicPr>
          <p:cNvPr id="5" name="Picture 4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37A2815D-3C0F-4373-98BB-55A2A6FFDD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2226" y="2894788"/>
            <a:ext cx="2451752" cy="2451752"/>
          </a:xfrm>
          <a:prstGeom prst="rect">
            <a:avLst/>
          </a:prstGeom>
        </p:spPr>
      </p:pic>
      <p:pic>
        <p:nvPicPr>
          <p:cNvPr id="7" name="Picture 6" descr="A blue square with white letters&#10;&#10;Description automatically generated">
            <a:extLst>
              <a:ext uri="{FF2B5EF4-FFF2-40B4-BE49-F238E27FC236}">
                <a16:creationId xmlns:a16="http://schemas.microsoft.com/office/drawing/2014/main" id="{D4CBB90A-D8FE-BD54-A6BF-625E38CE537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4" r="13233" b="7927"/>
          <a:stretch/>
        </p:blipFill>
        <p:spPr>
          <a:xfrm>
            <a:off x="8593762" y="5630281"/>
            <a:ext cx="677124" cy="61384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AC0255E-F3A0-70D7-07D2-A609AF22FD5B}"/>
              </a:ext>
            </a:extLst>
          </p:cNvPr>
          <p:cNvSpPr txBox="1"/>
          <p:nvPr/>
        </p:nvSpPr>
        <p:spPr>
          <a:xfrm>
            <a:off x="2777523" y="4003518"/>
            <a:ext cx="44851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PLS Session Highlights | LinkedIn Po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FA94FB-1102-DF75-CF22-271FC85989D4}"/>
              </a:ext>
            </a:extLst>
          </p:cNvPr>
          <p:cNvSpPr txBox="1"/>
          <p:nvPr/>
        </p:nvSpPr>
        <p:spPr>
          <a:xfrm>
            <a:off x="689114" y="1145962"/>
            <a:ext cx="1126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December, San Diego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PLS session concluded with the presentation of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wo PLS abstract awards (2026)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onoring the legacy of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urz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Campbell and the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arre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Family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69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6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86C74B-73B6-3AFB-6C80-F569B43EDF58}"/>
              </a:ext>
            </a:extLst>
          </p:cNvPr>
          <p:cNvSpPr txBox="1"/>
          <p:nvPr/>
        </p:nvSpPr>
        <p:spPr>
          <a:xfrm>
            <a:off x="542323" y="3013501"/>
            <a:ext cx="6101080" cy="83099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spc="247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e </a:t>
            </a:r>
            <a:r>
              <a:rPr lang="en-US" sz="2400" b="1" spc="247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urza</a:t>
            </a:r>
            <a:r>
              <a:rPr lang="en-US" sz="2400" b="1" spc="247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Campbell Award for </a:t>
            </a:r>
          </a:p>
          <a:p>
            <a:pPr algn="ctr"/>
            <a:r>
              <a:rPr lang="en-US" sz="2400" b="1" spc="247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Basic Science Innovation in PLS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E7CE6BA0-E71F-5935-B7B9-4B0638A30E46}"/>
              </a:ext>
            </a:extLst>
          </p:cNvPr>
          <p:cNvSpPr/>
          <p:nvPr/>
        </p:nvSpPr>
        <p:spPr>
          <a:xfrm>
            <a:off x="6769100" y="165100"/>
            <a:ext cx="5156200" cy="6578599"/>
          </a:xfrm>
          <a:custGeom>
            <a:avLst/>
            <a:gdLst/>
            <a:ahLst/>
            <a:cxnLst/>
            <a:rect l="l" t="t" r="r" b="b"/>
            <a:pathLst>
              <a:path w="4292600" h="6121400">
                <a:moveTo>
                  <a:pt x="4292600" y="6121400"/>
                </a:moveTo>
                <a:lnTo>
                  <a:pt x="0" y="6121400"/>
                </a:lnTo>
                <a:lnTo>
                  <a:pt x="0" y="0"/>
                </a:lnTo>
                <a:lnTo>
                  <a:pt x="4292600" y="0"/>
                </a:lnTo>
                <a:lnTo>
                  <a:pt x="4292600" y="6121400"/>
                </a:lnTo>
                <a:close/>
              </a:path>
            </a:pathLst>
          </a:custGeom>
          <a:blipFill>
            <a:blip r:embed="rId6"/>
            <a:stretch>
              <a:fillRect l="-6249" r="-6249"/>
            </a:stretch>
          </a:blipFill>
        </p:spPr>
        <p:txBody>
          <a:bodyPr/>
          <a:lstStyle/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26037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6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86C74B-73B6-3AFB-6C80-F569B43EDF58}"/>
              </a:ext>
            </a:extLst>
          </p:cNvPr>
          <p:cNvSpPr txBox="1"/>
          <p:nvPr/>
        </p:nvSpPr>
        <p:spPr>
          <a:xfrm>
            <a:off x="542323" y="3013501"/>
            <a:ext cx="6101080" cy="83099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spc="247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e </a:t>
            </a:r>
            <a:r>
              <a:rPr lang="en-US" sz="2400" b="1" spc="247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arren</a:t>
            </a:r>
            <a:r>
              <a:rPr lang="en-US" sz="2400" b="1" spc="247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Family Award for </a:t>
            </a:r>
          </a:p>
          <a:p>
            <a:pPr algn="ctr"/>
            <a:r>
              <a:rPr lang="en-US" sz="2400" b="1" spc="247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inical Innovation in PLS</a:t>
            </a:r>
          </a:p>
        </p:txBody>
      </p:sp>
      <p:pic>
        <p:nvPicPr>
          <p:cNvPr id="3" name="Picture Placeholder 21">
            <a:extLst>
              <a:ext uri="{FF2B5EF4-FFF2-40B4-BE49-F238E27FC236}">
                <a16:creationId xmlns:a16="http://schemas.microsoft.com/office/drawing/2014/main" id="{9D5FE69E-F9C8-E46B-C202-7592C70C6DE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968" b="28657"/>
          <a:stretch/>
        </p:blipFill>
        <p:spPr>
          <a:xfrm>
            <a:off x="6685887" y="749300"/>
            <a:ext cx="5378101" cy="58261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45273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120879E-2F52-DE32-C951-3301B59C3840}"/>
              </a:ext>
            </a:extLst>
          </p:cNvPr>
          <p:cNvSpPr txBox="1"/>
          <p:nvPr/>
        </p:nvSpPr>
        <p:spPr>
          <a:xfrm>
            <a:off x="642054" y="2173561"/>
            <a:ext cx="11224259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1" kern="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recording of the 2025 PLS session will be available for everyone on</a:t>
            </a:r>
            <a:r>
              <a:rPr lang="en-US" b="1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arch 4, 2026, </a:t>
            </a:r>
            <a:r>
              <a:rPr lang="en-US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a the </a:t>
            </a:r>
            <a:r>
              <a:rPr lang="en-US" b="1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national Symposium of ALS/MND website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b="1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meantime, keep an eye out for a </a:t>
            </a:r>
            <a:r>
              <a:rPr lang="en-US" b="1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log post about PLS on the MNDA website </a:t>
            </a:r>
            <a:r>
              <a:rPr lang="en-US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mmarizing key takeaways of the 2025 session</a:t>
            </a:r>
            <a:r>
              <a:rPr lang="en-US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en-US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heduled for publication</a:t>
            </a:r>
            <a:r>
              <a:rPr lang="en-US" b="1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morrow, Thursday, January 21, 2026</a:t>
            </a: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b="1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1224260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6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0AC325-F7EA-143C-B946-23390F616CB9}"/>
              </a:ext>
            </a:extLst>
          </p:cNvPr>
          <p:cNvSpPr txBox="1"/>
          <p:nvPr/>
        </p:nvSpPr>
        <p:spPr>
          <a:xfrm>
            <a:off x="483867" y="1023846"/>
            <a:ext cx="1122425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kern="100" dirty="0">
                <a:solidFill>
                  <a:schemeClr val="accent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Arial" panose="020B0604020202020204" pitchFamily="34" charset="0"/>
              </a:rPr>
              <a:t>Huge </a:t>
            </a:r>
            <a:r>
              <a:rPr lang="en-US" sz="2800" b="1" kern="100" dirty="0">
                <a:solidFill>
                  <a:schemeClr val="accent2"/>
                </a:solidFill>
                <a:latin typeface="Georgia" panose="02040502050405020303" pitchFamily="18" charset="0"/>
                <a:ea typeface="Calibri" panose="020F0502020204030204" pitchFamily="34" charset="0"/>
                <a:cs typeface="Arial" panose="020B0604020202020204" pitchFamily="34" charset="0"/>
              </a:rPr>
              <a:t>interest from MNDA to make the PLS session an annual event of the International Symposium of ALS/MND!</a:t>
            </a:r>
          </a:p>
          <a:p>
            <a:pPr algn="ctr"/>
            <a:endParaRPr lang="en-US" sz="2800" b="1" kern="100" dirty="0">
              <a:solidFill>
                <a:schemeClr val="accent2"/>
              </a:solidFill>
              <a:latin typeface="Georgia" panose="02040502050405020303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black text with rays of light&#10;&#10;Description automatically generated">
            <a:extLst>
              <a:ext uri="{FF2B5EF4-FFF2-40B4-BE49-F238E27FC236}">
                <a16:creationId xmlns:a16="http://schemas.microsoft.com/office/drawing/2014/main" id="{C33C3E59-F518-320B-0279-BE10E9310E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6522" y="5137303"/>
            <a:ext cx="1631215" cy="16312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38A85A-9511-407D-8F3F-6C32EBE3063D}"/>
              </a:ext>
            </a:extLst>
          </p:cNvPr>
          <p:cNvSpPr txBox="1"/>
          <p:nvPr/>
        </p:nvSpPr>
        <p:spPr>
          <a:xfrm>
            <a:off x="1535570" y="2085675"/>
            <a:ext cx="9437229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800" b="1" i="1" kern="100" dirty="0">
                <a:solidFill>
                  <a:schemeClr val="accent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Arial" panose="020B0604020202020204" pitchFamily="34" charset="0"/>
              </a:rPr>
              <a:t>Planning is already underway with MNDA and international collaborators for next year’s PLS session!</a:t>
            </a:r>
          </a:p>
        </p:txBody>
      </p:sp>
    </p:spTree>
    <p:extLst>
      <p:ext uri="{BB962C8B-B14F-4D97-AF65-F5344CB8AC3E}">
        <p14:creationId xmlns:p14="http://schemas.microsoft.com/office/powerpoint/2010/main" val="3808556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6FED-8C1F-76A2-A5F2-7BD93535E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079" y="1287792"/>
            <a:ext cx="5457418" cy="1486876"/>
          </a:xfrm>
        </p:spPr>
        <p:txBody>
          <a:bodyPr/>
          <a:lstStyle/>
          <a:p>
            <a:r>
              <a:rPr lang="en-US" sz="6600" b="1" dirty="0"/>
              <a:t>Thank</a:t>
            </a:r>
            <a:r>
              <a:rPr lang="en-US" sz="8800" dirty="0"/>
              <a:t> </a:t>
            </a:r>
            <a:r>
              <a:rPr lang="en-US" sz="6600" b="1" dirty="0"/>
              <a:t>you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24389C-1CBE-BB40-4624-A787FB8DCA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  <p:pic>
        <p:nvPicPr>
          <p:cNvPr id="10" name="Picture 9" descr="A person in a white coat and tie&#10;&#10;Description automatically generated">
            <a:extLst>
              <a:ext uri="{FF2B5EF4-FFF2-40B4-BE49-F238E27FC236}">
                <a16:creationId xmlns:a16="http://schemas.microsoft.com/office/drawing/2014/main" id="{5271092A-7D3F-B3D9-3782-EA9236510F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17" y="1287792"/>
            <a:ext cx="1460500" cy="1689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 descr="A close-up of a person&#10;&#10;Description automatically generated">
            <a:extLst>
              <a:ext uri="{FF2B5EF4-FFF2-40B4-BE49-F238E27FC236}">
                <a16:creationId xmlns:a16="http://schemas.microsoft.com/office/drawing/2014/main" id="{714E3FF4-338D-8CC5-3AA5-005EEE6FC6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17" y="3165223"/>
            <a:ext cx="1460500" cy="203861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12E8A3-D282-C6E6-7E14-71CE4A4765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4680" y="2676095"/>
            <a:ext cx="5016428" cy="15084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5" descr="http://www.thiscitylifelondon.com/wp-content/uploads/2012/02/logo-hi-res1.jpg">
            <a:extLst>
              <a:ext uri="{FF2B5EF4-FFF2-40B4-BE49-F238E27FC236}">
                <a16:creationId xmlns:a16="http://schemas.microsoft.com/office/drawing/2014/main" id="{A87D4870-7AF5-DFC7-9F2F-70A18CDF9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634" y="4406537"/>
            <a:ext cx="2648346" cy="11015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EDF0855-2896-775F-00CF-92677DE246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5474" b="26470"/>
          <a:stretch/>
        </p:blipFill>
        <p:spPr>
          <a:xfrm>
            <a:off x="5920354" y="4513088"/>
            <a:ext cx="4417089" cy="954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B89385A-2B28-34E8-B864-2A6B48A10522}"/>
              </a:ext>
            </a:extLst>
          </p:cNvPr>
          <p:cNvSpPr txBox="1"/>
          <p:nvPr/>
        </p:nvSpPr>
        <p:spPr>
          <a:xfrm>
            <a:off x="6170509" y="298374"/>
            <a:ext cx="3657600" cy="95097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i="1" dirty="0"/>
              <a:t>Mr. David </a:t>
            </a:r>
            <a:r>
              <a:rPr lang="en-US" sz="2400" b="1" i="1" dirty="0" err="1"/>
              <a:t>Marren</a:t>
            </a:r>
            <a:r>
              <a:rPr lang="en-US" sz="2400" b="1" i="1" dirty="0"/>
              <a:t> </a:t>
            </a:r>
          </a:p>
          <a:p>
            <a:pPr algn="ctr"/>
            <a:r>
              <a:rPr lang="en-US" sz="2400" b="1" i="1" dirty="0"/>
              <a:t>and Family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5308804-D96F-4F59-7D27-7CA647BAEA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3114" y="5839297"/>
            <a:ext cx="3270561" cy="683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461FE53-3E76-AA38-8334-841901F430B1}"/>
              </a:ext>
            </a:extLst>
          </p:cNvPr>
          <p:cNvSpPr txBox="1"/>
          <p:nvPr/>
        </p:nvSpPr>
        <p:spPr>
          <a:xfrm>
            <a:off x="2410805" y="300973"/>
            <a:ext cx="3657600" cy="95097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i="1" dirty="0"/>
              <a:t>The Campbell Family in loving memory of </a:t>
            </a:r>
            <a:r>
              <a:rPr lang="en-US" sz="2400" b="1" i="1" dirty="0" err="1"/>
              <a:t>Thurza</a:t>
            </a:r>
            <a:endParaRPr lang="en-US" sz="2400" b="1" i="1" dirty="0"/>
          </a:p>
        </p:txBody>
      </p:sp>
      <p:pic>
        <p:nvPicPr>
          <p:cNvPr id="23" name="Picture 22" descr="Image result for ALS Association">
            <a:extLst>
              <a:ext uri="{FF2B5EF4-FFF2-40B4-BE49-F238E27FC236}">
                <a16:creationId xmlns:a16="http://schemas.microsoft.com/office/drawing/2014/main" id="{8EE19BFB-F0DF-3D35-C806-97413FA6E9A7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042" y="5730123"/>
            <a:ext cx="1853939" cy="9014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0508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EF12F0-7C68-426D-AC3A-B0F5DE854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974" y="2757780"/>
            <a:ext cx="10940051" cy="1342440"/>
          </a:xfrm>
        </p:spPr>
        <p:txBody>
          <a:bodyPr vert="horz"/>
          <a:lstStyle/>
          <a:p>
            <a:pPr algn="ctr"/>
            <a:r>
              <a:rPr lang="en-US" b="1" dirty="0"/>
              <a:t>In the last 2 years…</a:t>
            </a:r>
          </a:p>
        </p:txBody>
      </p:sp>
    </p:spTree>
    <p:extLst>
      <p:ext uri="{BB962C8B-B14F-4D97-AF65-F5344CB8AC3E}">
        <p14:creationId xmlns:p14="http://schemas.microsoft.com/office/powerpoint/2010/main" val="1460793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120879E-2F52-DE32-C951-3301B59C3840}"/>
              </a:ext>
            </a:extLst>
          </p:cNvPr>
          <p:cNvSpPr txBox="1"/>
          <p:nvPr/>
        </p:nvSpPr>
        <p:spPr>
          <a:xfrm>
            <a:off x="689113" y="1669570"/>
            <a:ext cx="617821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December, Montreal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2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International PLS Conferenc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2024 (previous in 2004 and 2019) brought together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more than 100 participants from around the world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, including leading clinicians, researchers, ambassadors, as well as individuals living with PLS, caregivers, and families impacted by PLS 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b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4</a:t>
            </a:r>
          </a:p>
        </p:txBody>
      </p:sp>
      <p:pic>
        <p:nvPicPr>
          <p:cNvPr id="10" name="Picture 9" descr="A poster of a city&#10;&#10;Description automatically generated">
            <a:extLst>
              <a:ext uri="{FF2B5EF4-FFF2-40B4-BE49-F238E27FC236}">
                <a16:creationId xmlns:a16="http://schemas.microsoft.com/office/drawing/2014/main" id="{DC32D83D-94EB-8CB0-DF6D-DC35B3D799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487" y="47593"/>
            <a:ext cx="5163015" cy="6711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464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A64C9A-EF23-7684-0498-3619B07DEA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  <p:pic>
        <p:nvPicPr>
          <p:cNvPr id="5" name="Picture 4" descr="A door open to a field&#10;&#10;Description automatically generated">
            <a:extLst>
              <a:ext uri="{FF2B5EF4-FFF2-40B4-BE49-F238E27FC236}">
                <a16:creationId xmlns:a16="http://schemas.microsoft.com/office/drawing/2014/main" id="{3437A6E3-89D8-FC13-B95E-09CE4CB249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7172" y="1311064"/>
            <a:ext cx="6907500" cy="4590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E8E22C4-0CCC-2D03-3836-E5C0FE4464C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1961845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/>
              <a:t>This conference opened the door </a:t>
            </a:r>
          </a:p>
          <a:p>
            <a:pPr algn="ctr"/>
            <a:r>
              <a:rPr lang="en-US" sz="2800" b="1" dirty="0"/>
              <a:t>to many other opportunities</a:t>
            </a:r>
          </a:p>
        </p:txBody>
      </p:sp>
    </p:spTree>
    <p:extLst>
      <p:ext uri="{BB962C8B-B14F-4D97-AF65-F5344CB8AC3E}">
        <p14:creationId xmlns:p14="http://schemas.microsoft.com/office/powerpoint/2010/main" val="3336313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A64C9A-EF23-7684-0498-3619B07DEA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8E22C4-0CCC-2D03-3836-E5C0FE4464C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1961845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/>
              <a:t>Prepare your phone to scan QR codes </a:t>
            </a:r>
          </a:p>
        </p:txBody>
      </p:sp>
      <p:pic>
        <p:nvPicPr>
          <p:cNvPr id="10" name="Picture 9" descr="A hand holding a cellphone with a qr code&#10;&#10;Description automatically generated">
            <a:extLst>
              <a:ext uri="{FF2B5EF4-FFF2-40B4-BE49-F238E27FC236}">
                <a16:creationId xmlns:a16="http://schemas.microsoft.com/office/drawing/2014/main" id="{7D2453F0-4BF8-9E3B-1E0B-12BBE43901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1342440"/>
            <a:ext cx="48768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100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pic>
        <p:nvPicPr>
          <p:cNvPr id="8" name="Picture 7" descr="A qr code with a black background&#10;&#10;Description automatically generated">
            <a:extLst>
              <a:ext uri="{FF2B5EF4-FFF2-40B4-BE49-F238E27FC236}">
                <a16:creationId xmlns:a16="http://schemas.microsoft.com/office/drawing/2014/main" id="{CBFDE65B-FBF1-7B36-A70A-75F4A9154E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421" y="671220"/>
            <a:ext cx="4466466" cy="4466466"/>
          </a:xfrm>
          <a:prstGeom prst="rect">
            <a:avLst/>
          </a:prstGeom>
        </p:spPr>
      </p:pic>
      <p:pic>
        <p:nvPicPr>
          <p:cNvPr id="12" name="Picture 11" descr="A logo with text and images&#10;&#10;Description automatically generated with medium confidence">
            <a:extLst>
              <a:ext uri="{FF2B5EF4-FFF2-40B4-BE49-F238E27FC236}">
                <a16:creationId xmlns:a16="http://schemas.microsoft.com/office/drawing/2014/main" id="{A71F5BD9-735E-C416-A1D4-7400CAA97C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182" y="3534254"/>
            <a:ext cx="4913330" cy="2212805"/>
          </a:xfrm>
          <a:prstGeom prst="rect">
            <a:avLst/>
          </a:prstGeom>
        </p:spPr>
      </p:pic>
      <p:pic>
        <p:nvPicPr>
          <p:cNvPr id="14" name="Picture 13" descr="A logo with black text&#10;&#10;Description automatically generated">
            <a:extLst>
              <a:ext uri="{FF2B5EF4-FFF2-40B4-BE49-F238E27FC236}">
                <a16:creationId xmlns:a16="http://schemas.microsoft.com/office/drawing/2014/main" id="{F72E5BA4-7724-19E1-F033-9E9CCBDB51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523" y="2955710"/>
            <a:ext cx="1397000" cy="4699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C5DA382-E849-9F08-69C5-30B7E215CEA9}"/>
              </a:ext>
            </a:extLst>
          </p:cNvPr>
          <p:cNvSpPr txBox="1"/>
          <p:nvPr/>
        </p:nvSpPr>
        <p:spPr>
          <a:xfrm>
            <a:off x="689113" y="1145962"/>
            <a:ext cx="63473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Panel Discussion Video | PLS Conference</a:t>
            </a:r>
            <a:endParaRPr lang="en-US" sz="2400" dirty="0"/>
          </a:p>
        </p:txBody>
      </p:sp>
      <p:pic>
        <p:nvPicPr>
          <p:cNvPr id="7" name="Picture 6" descr="A city skyline with a body of water&#10;&#10;Description automatically generated">
            <a:extLst>
              <a:ext uri="{FF2B5EF4-FFF2-40B4-BE49-F238E27FC236}">
                <a16:creationId xmlns:a16="http://schemas.microsoft.com/office/drawing/2014/main" id="{D786ED5F-6106-D2EB-D962-AC9DDCCBE5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" t="2179" r="2382" b="53285"/>
          <a:stretch/>
        </p:blipFill>
        <p:spPr>
          <a:xfrm>
            <a:off x="7036421" y="5285232"/>
            <a:ext cx="4466466" cy="156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598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120879E-2F52-DE32-C951-3301B59C3840}"/>
              </a:ext>
            </a:extLst>
          </p:cNvPr>
          <p:cNvSpPr txBox="1"/>
          <p:nvPr/>
        </p:nvSpPr>
        <p:spPr>
          <a:xfrm>
            <a:off x="689114" y="1145962"/>
            <a:ext cx="61782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February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MND Blog Post | PLS Conference</a:t>
            </a:r>
            <a:endParaRPr lang="en-US" sz="24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pic>
        <p:nvPicPr>
          <p:cNvPr id="2" name="Picture 1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1BD6E5C4-1C55-63AA-7F16-A122C80A46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421" y="671219"/>
            <a:ext cx="4466465" cy="4466465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957293B1-D5D6-1776-DBAD-47BB96899F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756" y="5262081"/>
            <a:ext cx="5175084" cy="941681"/>
          </a:xfrm>
          <a:prstGeom prst="rect">
            <a:avLst/>
          </a:prstGeom>
        </p:spPr>
      </p:pic>
      <p:pic>
        <p:nvPicPr>
          <p:cNvPr id="12" name="Picture 11" descr="A group of people in a conference room&#10;&#10;Description automatically generated">
            <a:extLst>
              <a:ext uri="{FF2B5EF4-FFF2-40B4-BE49-F238E27FC236}">
                <a16:creationId xmlns:a16="http://schemas.microsoft.com/office/drawing/2014/main" id="{B9BC8394-EDAD-4A2B-E8AA-2E011790DB0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0" t="3410" r="3015" b="15019"/>
          <a:stretch/>
        </p:blipFill>
        <p:spPr>
          <a:xfrm>
            <a:off x="689114" y="2307219"/>
            <a:ext cx="4892599" cy="383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4375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9FA8FC-37FE-4F21-B41D-79E8B61D5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9FA8FC-37FE-4F21-B41D-79E8B61D5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0220EA-0DDC-035D-71AE-8983B245F61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2777523" cy="13424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2025</a:t>
            </a:r>
          </a:p>
        </p:txBody>
      </p:sp>
      <p:pic>
        <p:nvPicPr>
          <p:cNvPr id="5" name="Picture 4" descr="A qr code with a few squares&#10;&#10;Description automatically generated">
            <a:extLst>
              <a:ext uri="{FF2B5EF4-FFF2-40B4-BE49-F238E27FC236}">
                <a16:creationId xmlns:a16="http://schemas.microsoft.com/office/drawing/2014/main" id="{15B72A65-F272-B3AC-C51C-226A184725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5023" y="671220"/>
            <a:ext cx="4419654" cy="4419654"/>
          </a:xfrm>
          <a:prstGeom prst="rect">
            <a:avLst/>
          </a:prstGeom>
        </p:spPr>
      </p:pic>
      <p:pic>
        <p:nvPicPr>
          <p:cNvPr id="11" name="Picture 10" descr="A diagram of a path of path&#10;&#10;Description automatically generated with medium confidence">
            <a:extLst>
              <a:ext uri="{FF2B5EF4-FFF2-40B4-BE49-F238E27FC236}">
                <a16:creationId xmlns:a16="http://schemas.microsoft.com/office/drawing/2014/main" id="{9DF2ACF6-27B5-4277-0F25-E20B9F0CDB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0" y="2715622"/>
            <a:ext cx="4826000" cy="34050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0EF848A-F5DF-78A5-84C1-B68DCA1982C1}"/>
              </a:ext>
            </a:extLst>
          </p:cNvPr>
          <p:cNvSpPr txBox="1"/>
          <p:nvPr/>
        </p:nvSpPr>
        <p:spPr>
          <a:xfrm>
            <a:off x="689114" y="1145962"/>
            <a:ext cx="61782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June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Academical paper on PL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-authored by the researchers that met in Montreal </a:t>
            </a:r>
          </a:p>
        </p:txBody>
      </p:sp>
    </p:spTree>
    <p:extLst>
      <p:ext uri="{BB962C8B-B14F-4D97-AF65-F5344CB8AC3E}">
        <p14:creationId xmlns:p14="http://schemas.microsoft.com/office/powerpoint/2010/main" val="102210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CRI_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esearch Institute policies 20220303" id="{40A439F2-4971-4D41-AE3B-CC8E38397C7F}" vid="{AC98EB51-E2C6-4B36-8D95-A321E874561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B286F18352EA41B98BBE4E6A75DFDD" ma:contentTypeVersion="14" ma:contentTypeDescription="Create a new document." ma:contentTypeScope="" ma:versionID="548685df2a6da6563013f2c8f40de6a3">
  <xsd:schema xmlns:xsd="http://www.w3.org/2001/XMLSchema" xmlns:xs="http://www.w3.org/2001/XMLSchema" xmlns:p="http://schemas.microsoft.com/office/2006/metadata/properties" xmlns:ns3="b3a2d46f-e914-4ac6-893f-fbb85d2756a9" xmlns:ns4="c311a8e7-bfc8-4e4d-ae5d-1f655596b249" targetNamespace="http://schemas.microsoft.com/office/2006/metadata/properties" ma:root="true" ma:fieldsID="ddd8a8bf34e4431d4db670a94c6828b2" ns3:_="" ns4:_="">
    <xsd:import namespace="b3a2d46f-e914-4ac6-893f-fbb85d2756a9"/>
    <xsd:import namespace="c311a8e7-bfc8-4e4d-ae5d-1f655596b24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a2d46f-e914-4ac6-893f-fbb85d2756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11a8e7-bfc8-4e4d-ae5d-1f655596b24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EA3F61-D416-4E58-9AD2-21E02B2C10E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7B9082-E187-459D-8C05-20360A32F67C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c311a8e7-bfc8-4e4d-ae5d-1f655596b249"/>
    <ds:schemaRef ds:uri="b3a2d46f-e914-4ac6-893f-fbb85d2756a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C199E53-D28B-41AF-8D5A-DD866FB666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3a2d46f-e914-4ac6-893f-fbb85d2756a9"/>
    <ds:schemaRef ds:uri="c311a8e7-bfc8-4e4d-ae5d-1f655596b2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75</TotalTime>
  <Words>413</Words>
  <Application>Microsoft Macintosh PowerPoint</Application>
  <PresentationFormat>Widescreen</PresentationFormat>
  <Paragraphs>78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Georgia</vt:lpstr>
      <vt:lpstr>System Font Regular</vt:lpstr>
      <vt:lpstr>Wingdings</vt:lpstr>
      <vt:lpstr>NCRI_MGB_standard_template_082020</vt:lpstr>
      <vt:lpstr>think-cell Slide</vt:lpstr>
      <vt:lpstr>PLS | International collaborations  over the last years</vt:lpstr>
      <vt:lpstr>Thank you</vt:lpstr>
      <vt:lpstr>In the last 2 years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in Drake</dc:creator>
  <cp:lastModifiedBy>Scirocco, Erica</cp:lastModifiedBy>
  <cp:revision>63</cp:revision>
  <dcterms:created xsi:type="dcterms:W3CDTF">2019-11-25T21:30:30Z</dcterms:created>
  <dcterms:modified xsi:type="dcterms:W3CDTF">2026-01-21T15:0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62B286F18352EA41B98BBE4E6A75DFDD</vt:lpwstr>
  </property>
</Properties>
</file>